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4042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B7B7B7"/>
    <a:srgbClr val="5A5A5A"/>
    <a:srgbClr val="E5E5E5"/>
    <a:srgbClr val="A8A8A8"/>
    <a:srgbClr val="8D8D8D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4042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4650D895-EB6A-4BA2-9016-2EF84A377C20}"/>
    <pc:docChg chg="undo redo custSel modSld">
      <pc:chgData name="Weigel Stefan (PAR-EPS)" userId="fd3b2067-2981-4ad8-bf3a-d2e1004e4fa8" providerId="ADAL" clId="{4650D895-EB6A-4BA2-9016-2EF84A377C20}" dt="2024-02-28T11:50:11.844" v="70" actId="1038"/>
      <pc:docMkLst>
        <pc:docMk/>
      </pc:docMkLst>
      <pc:sldChg chg="modSp mod">
        <pc:chgData name="Weigel Stefan (PAR-EPS)" userId="fd3b2067-2981-4ad8-bf3a-d2e1004e4fa8" providerId="ADAL" clId="{4650D895-EB6A-4BA2-9016-2EF84A377C20}" dt="2024-02-28T11:50:11.844" v="70" actId="1038"/>
        <pc:sldMkLst>
          <pc:docMk/>
          <pc:sldMk cId="3158517815" sldId="412"/>
        </pc:sldMkLst>
        <pc:spChg chg="mod">
          <ac:chgData name="Weigel Stefan (PAR-EPS)" userId="fd3b2067-2981-4ad8-bf3a-d2e1004e4fa8" providerId="ADAL" clId="{4650D895-EB6A-4BA2-9016-2EF84A377C20}" dt="2024-02-28T11:42:37.711" v="7" actId="20577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650D895-EB6A-4BA2-9016-2EF84A377C20}" dt="2024-02-28T11:50:11.844" v="70" actId="1038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650D895-EB6A-4BA2-9016-2EF84A377C20}" dt="2024-02-28T11:49:54.619" v="65" actId="121"/>
          <ac:spMkLst>
            <pc:docMk/>
            <pc:sldMk cId="3158517815" sldId="412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EEEB8C2A-CF97-4BC4-BECD-DA82A1D92792}"/>
    <pc:docChg chg="custSel modSld">
      <pc:chgData name="Meyer Raphael (PAR-ES)" userId="79615dfe-ed48-4e74-a40f-4f7b034c1c27" providerId="ADAL" clId="{EEEB8C2A-CF97-4BC4-BECD-DA82A1D92792}" dt="2022-03-09T11:55:45.105" v="33" actId="27918"/>
      <pc:docMkLst>
        <pc:docMk/>
      </pc:docMkLst>
      <pc:sldChg chg="modSp mod">
        <pc:chgData name="Meyer Raphael (PAR-ES)" userId="79615dfe-ed48-4e74-a40f-4f7b034c1c27" providerId="ADAL" clId="{EEEB8C2A-CF97-4BC4-BECD-DA82A1D92792}" dt="2022-03-09T11:51:44.226" v="1"/>
        <pc:sldMkLst>
          <pc:docMk/>
          <pc:sldMk cId="1355476115" sldId="413"/>
        </pc:sldMkLst>
        <pc:spChg chg="mod">
          <ac:chgData name="Meyer Raphael (PAR-ES)" userId="79615dfe-ed48-4e74-a40f-4f7b034c1c27" providerId="ADAL" clId="{EEEB8C2A-CF97-4BC4-BECD-DA82A1D92792}" dt="2022-03-09T11:51:14.551" v="0"/>
          <ac:spMkLst>
            <pc:docMk/>
            <pc:sldMk cId="1355476115" sldId="41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1:44.226" v="1"/>
          <ac:spMkLst>
            <pc:docMk/>
            <pc:sldMk cId="1355476115" sldId="413"/>
            <ac:spMk id="6" creationId="{858CAFD8-585A-425D-B84C-7C6D2EEC02E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4:00.172" v="20" actId="27918"/>
        <pc:sldMkLst>
          <pc:docMk/>
          <pc:sldMk cId="1680633567" sldId="414"/>
        </pc:sldMkLst>
        <pc:spChg chg="mod">
          <ac:chgData name="Meyer Raphael (PAR-ES)" userId="79615dfe-ed48-4e74-a40f-4f7b034c1c27" providerId="ADAL" clId="{EEEB8C2A-CF97-4BC4-BECD-DA82A1D92792}" dt="2022-03-09T11:52:44.964" v="2"/>
          <ac:spMkLst>
            <pc:docMk/>
            <pc:sldMk cId="1680633567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3:07.952" v="14"/>
          <ac:spMkLst>
            <pc:docMk/>
            <pc:sldMk cId="1680633567" sldId="414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2:56.887" v="13" actId="20577"/>
          <ac:spMkLst>
            <pc:docMk/>
            <pc:sldMk cId="1680633567" sldId="414"/>
            <ac:spMk id="7" creationId="{A268B3EA-5C95-4C29-811B-3808A456157E}"/>
          </ac:spMkLst>
        </pc:spChg>
      </pc:sldChg>
      <pc:sldChg chg="modSp mod">
        <pc:chgData name="Meyer Raphael (PAR-ES)" userId="79615dfe-ed48-4e74-a40f-4f7b034c1c27" providerId="ADAL" clId="{EEEB8C2A-CF97-4BC4-BECD-DA82A1D92792}" dt="2022-03-09T11:55:45.105" v="33" actId="27918"/>
        <pc:sldMkLst>
          <pc:docMk/>
          <pc:sldMk cId="3776150389" sldId="415"/>
        </pc:sldMkLst>
        <pc:spChg chg="mod">
          <ac:chgData name="Meyer Raphael (PAR-ES)" userId="79615dfe-ed48-4e74-a40f-4f7b034c1c27" providerId="ADAL" clId="{EEEB8C2A-CF97-4BC4-BECD-DA82A1D92792}" dt="2022-03-09T11:54:37.618" v="21"/>
          <ac:spMkLst>
            <pc:docMk/>
            <pc:sldMk cId="377615038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EEB8C2A-CF97-4BC4-BECD-DA82A1D92792}" dt="2022-03-09T11:55:03.945" v="22"/>
          <ac:spMkLst>
            <pc:docMk/>
            <pc:sldMk cId="3776150389" sldId="415"/>
            <ac:spMk id="6" creationId="{858CAFD8-585A-425D-B84C-7C6D2EEC02EE}"/>
          </ac:spMkLst>
        </pc:spChg>
        <pc:spChg chg="mod">
          <ac:chgData name="Meyer Raphael (PAR-ES)" userId="79615dfe-ed48-4e74-a40f-4f7b034c1c27" providerId="ADAL" clId="{EEEB8C2A-CF97-4BC4-BECD-DA82A1D92792}" dt="2022-03-09T11:55:10.741" v="28" actId="20577"/>
          <ac:spMkLst>
            <pc:docMk/>
            <pc:sldMk cId="3776150389" sldId="415"/>
            <ac:spMk id="7" creationId="{A268B3EA-5C95-4C29-811B-3808A456157E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C4D7F9F5-998F-4867-9A40-101C59F8BE2E}"/>
    <pc:docChg chg="addSld delSld">
      <pc:chgData name="Meyer Raphael (PAR-ES)" userId="79615dfe-ed48-4e74-a40f-4f7b034c1c27" providerId="ADAL" clId="{C4D7F9F5-998F-4867-9A40-101C59F8BE2E}" dt="2022-03-09T10:44:13.499" v="4" actId="2890"/>
      <pc:docMkLst>
        <pc:docMk/>
      </pc:docMkLst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2144688994" sldId="410"/>
        </pc:sldMkLst>
      </pc:sldChg>
      <pc:sldChg chg="del">
        <pc:chgData name="Meyer Raphael (PAR-ES)" userId="79615dfe-ed48-4e74-a40f-4f7b034c1c27" providerId="ADAL" clId="{C4D7F9F5-998F-4867-9A40-101C59F8BE2E}" dt="2022-03-09T10:44:03.773" v="1" actId="47"/>
        <pc:sldMkLst>
          <pc:docMk/>
          <pc:sldMk cId="34638060" sldId="411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3456073895" sldId="412"/>
        </pc:sldMkLst>
      </pc:sldChg>
      <pc:sldChg chg="del">
        <pc:chgData name="Meyer Raphael (PAR-ES)" userId="79615dfe-ed48-4e74-a40f-4f7b034c1c27" providerId="ADAL" clId="{C4D7F9F5-998F-4867-9A40-101C59F8BE2E}" dt="2022-03-09T10:43:53.211" v="0" actId="47"/>
        <pc:sldMkLst>
          <pc:docMk/>
          <pc:sldMk cId="1058032750" sldId="413"/>
        </pc:sldMkLst>
      </pc:sldChg>
      <pc:sldChg chg="add">
        <pc:chgData name="Meyer Raphael (PAR-ES)" userId="79615dfe-ed48-4e74-a40f-4f7b034c1c27" providerId="ADAL" clId="{C4D7F9F5-998F-4867-9A40-101C59F8BE2E}" dt="2022-03-09T10:44:11.020" v="2" actId="2890"/>
        <pc:sldMkLst>
          <pc:docMk/>
          <pc:sldMk cId="1355476115" sldId="413"/>
        </pc:sldMkLst>
      </pc:sldChg>
      <pc:sldChg chg="add">
        <pc:chgData name="Meyer Raphael (PAR-ES)" userId="79615dfe-ed48-4e74-a40f-4f7b034c1c27" providerId="ADAL" clId="{C4D7F9F5-998F-4867-9A40-101C59F8BE2E}" dt="2022-03-09T10:44:12.800" v="3" actId="2890"/>
        <pc:sldMkLst>
          <pc:docMk/>
          <pc:sldMk cId="1680633567" sldId="414"/>
        </pc:sldMkLst>
      </pc:sldChg>
      <pc:sldChg chg="add">
        <pc:chgData name="Meyer Raphael (PAR-ES)" userId="79615dfe-ed48-4e74-a40f-4f7b034c1c27" providerId="ADAL" clId="{C4D7F9F5-998F-4867-9A40-101C59F8BE2E}" dt="2022-03-09T10:44:13.499" v="4" actId="2890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3A031BE0-00CF-4BA8-B07E-8242826746C8}"/>
    <pc:docChg chg="modSld">
      <pc:chgData name="Meyer Raphael (PAR-ES)" userId="79615dfe-ed48-4e74-a40f-4f7b034c1c27" providerId="ADAL" clId="{3A031BE0-00CF-4BA8-B07E-8242826746C8}" dt="2023-02-24T13:39:39.062" v="3" actId="27918"/>
      <pc:docMkLst>
        <pc:docMk/>
      </pc:docMkLst>
      <pc:sldChg chg="mod">
        <pc:chgData name="Meyer Raphael (PAR-ES)" userId="79615dfe-ed48-4e74-a40f-4f7b034c1c27" providerId="ADAL" clId="{3A031BE0-00CF-4BA8-B07E-8242826746C8}" dt="2023-02-24T13:39:39.062" v="3" actId="27918"/>
        <pc:sldMkLst>
          <pc:docMk/>
          <pc:sldMk cId="3158517815" sldId="412"/>
        </pc:sldMkLst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4AE03B0D-F612-448D-9324-0D586C0EB891}"/>
    <pc:docChg chg="modSld">
      <pc:chgData name="Weigel Stefan (PAR-EPS)" userId="fd3b2067-2981-4ad8-bf3a-d2e1004e4fa8" providerId="ADAL" clId="{4AE03B0D-F612-448D-9324-0D586C0EB891}" dt="2025-02-24T09:52:48.044" v="3" actId="790"/>
      <pc:docMkLst>
        <pc:docMk/>
      </pc:docMkLst>
      <pc:sldChg chg="modSp mod">
        <pc:chgData name="Weigel Stefan (PAR-EPS)" userId="fd3b2067-2981-4ad8-bf3a-d2e1004e4fa8" providerId="ADAL" clId="{4AE03B0D-F612-448D-9324-0D586C0EB891}" dt="2025-02-24T09:52:48.044" v="3" actId="790"/>
        <pc:sldMkLst>
          <pc:docMk/>
          <pc:sldMk cId="3158517815" sldId="412"/>
        </pc:sldMkLst>
        <pc:spChg chg="mod">
          <ac:chgData name="Weigel Stefan (PAR-EPS)" userId="fd3b2067-2981-4ad8-bf3a-d2e1004e4fa8" providerId="ADAL" clId="{4AE03B0D-F612-448D-9324-0D586C0EB891}" dt="2025-02-24T09:52:48.044" v="3" actId="790"/>
          <ac:spMkLst>
            <pc:docMk/>
            <pc:sldMk cId="3158517815" sldId="412"/>
            <ac:spMk id="2" creationId="{00000000-0000-0000-0000-000000000000}"/>
          </ac:spMkLst>
        </pc:sp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A830612-B898-476A-AABA-B32747A22A74}"/>
    <pc:docChg chg="undo custSel addSld delSld modSld sldOrd">
      <pc:chgData name="Meyer Raphael (PAR-ES)" userId="79615dfe-ed48-4e74-a40f-4f7b034c1c27" providerId="ADAL" clId="{DA830612-B898-476A-AABA-B32747A22A74}" dt="2022-02-23T09:48:57.351" v="52" actId="27918"/>
      <pc:docMkLst>
        <pc:docMk/>
      </pc:docMkLst>
      <pc:sldChg chg="del">
        <pc:chgData name="Meyer Raphael (PAR-ES)" userId="79615dfe-ed48-4e74-a40f-4f7b034c1c27" providerId="ADAL" clId="{DA830612-B898-476A-AABA-B32747A22A74}" dt="2022-02-23T09:40:25.897" v="0" actId="47"/>
        <pc:sldMkLst>
          <pc:docMk/>
          <pc:sldMk cId="2543225151" sldId="405"/>
        </pc:sldMkLst>
      </pc:sldChg>
      <pc:sldChg chg="del ord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4205359706" sldId="409"/>
        </pc:sldMkLst>
      </pc:sldChg>
      <pc:sldChg chg="modSp add mod">
        <pc:chgData name="Meyer Raphael (PAR-ES)" userId="79615dfe-ed48-4e74-a40f-4f7b034c1c27" providerId="ADAL" clId="{DA830612-B898-476A-AABA-B32747A22A74}" dt="2022-02-23T09:44:06.813" v="20" actId="207"/>
        <pc:sldMkLst>
          <pc:docMk/>
          <pc:sldMk cId="2144688994" sldId="410"/>
        </pc:sldMkLst>
        <pc:spChg chg="mod">
          <ac:chgData name="Meyer Raphael (PAR-ES)" userId="79615dfe-ed48-4e74-a40f-4f7b034c1c27" providerId="ADAL" clId="{DA830612-B898-476A-AABA-B32747A22A74}" dt="2022-02-23T09:41:13.206" v="6" actId="20577"/>
          <ac:spMkLst>
            <pc:docMk/>
            <pc:sldMk cId="2144688994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2:05.785" v="7"/>
          <ac:spMkLst>
            <pc:docMk/>
            <pc:sldMk cId="2144688994" sldId="410"/>
            <ac:spMk id="5" creationId="{00000000-0000-0000-0000-000000000000}"/>
          </ac:spMkLst>
        </pc:spChg>
        <pc:graphicFrameChg chg="mod">
          <ac:chgData name="Meyer Raphael (PAR-ES)" userId="79615dfe-ed48-4e74-a40f-4f7b034c1c27" providerId="ADAL" clId="{DA830612-B898-476A-AABA-B32747A22A74}" dt="2022-02-23T09:44:04.356" v="19" actId="207"/>
          <ac:graphicFrameMkLst>
            <pc:docMk/>
            <pc:sldMk cId="2144688994" sldId="410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57.179" v="17" actId="207"/>
          <ac:graphicFrameMkLst>
            <pc:docMk/>
            <pc:sldMk cId="2144688994" sldId="410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4:06.813" v="20" actId="207"/>
          <ac:graphicFrameMkLst>
            <pc:docMk/>
            <pc:sldMk cId="2144688994" sldId="410"/>
            <ac:graphicFrameMk id="10" creationId="{00000000-0000-0000-0000-000000000000}"/>
          </ac:graphicFrameMkLst>
        </pc:graphicFrameChg>
      </pc:sldChg>
      <pc:sldChg chg="modSp add ord">
        <pc:chgData name="Meyer Raphael (PAR-ES)" userId="79615dfe-ed48-4e74-a40f-4f7b034c1c27" providerId="ADAL" clId="{DA830612-B898-476A-AABA-B32747A22A74}" dt="2022-02-23T09:43:33.286" v="13"/>
        <pc:sldMkLst>
          <pc:docMk/>
          <pc:sldMk cId="34638060" sldId="411"/>
        </pc:sldMkLst>
        <pc:graphicFrameChg chg="mod">
          <ac:chgData name="Meyer Raphael (PAR-ES)" userId="79615dfe-ed48-4e74-a40f-4f7b034c1c27" providerId="ADAL" clId="{DA830612-B898-476A-AABA-B32747A22A74}" dt="2022-02-23T09:43:13.130" v="10" actId="207"/>
          <ac:graphicFrameMkLst>
            <pc:docMk/>
            <pc:sldMk cId="34638060" sldId="411"/>
            <ac:graphicFrameMk id="8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08.278" v="8" actId="207"/>
          <ac:graphicFrameMkLst>
            <pc:docMk/>
            <pc:sldMk cId="34638060" sldId="411"/>
            <ac:graphicFrameMk id="9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A830612-B898-476A-AABA-B32747A22A74}" dt="2022-02-23T09:43:25.017" v="11" actId="207"/>
          <ac:graphicFrameMkLst>
            <pc:docMk/>
            <pc:sldMk cId="34638060" sldId="411"/>
            <ac:graphicFrameMk id="10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A830612-B898-476A-AABA-B32747A22A74}" dt="2022-02-23T09:43:37.359" v="16" actId="47"/>
        <pc:sldMkLst>
          <pc:docMk/>
          <pc:sldMk cId="159997920" sldId="412"/>
        </pc:sldMkLst>
      </pc:sldChg>
      <pc:sldChg chg="modSp add mod ord">
        <pc:chgData name="Meyer Raphael (PAR-ES)" userId="79615dfe-ed48-4e74-a40f-4f7b034c1c27" providerId="ADAL" clId="{DA830612-B898-476A-AABA-B32747A22A74}" dt="2022-02-23T09:48:57.351" v="52" actId="27918"/>
        <pc:sldMkLst>
          <pc:docMk/>
          <pc:sldMk cId="3456073895" sldId="412"/>
        </pc:sldMkLst>
        <pc:spChg chg="mod">
          <ac:chgData name="Meyer Raphael (PAR-ES)" userId="79615dfe-ed48-4e74-a40f-4f7b034c1c27" providerId="ADAL" clId="{DA830612-B898-476A-AABA-B32747A22A74}" dt="2022-02-23T09:44:42.817" v="27" actId="20577"/>
          <ac:spMkLst>
            <pc:docMk/>
            <pc:sldMk cId="3456073895" sldId="41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5:35.191" v="29" actId="14100"/>
          <ac:spMkLst>
            <pc:docMk/>
            <pc:sldMk cId="3456073895" sldId="412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DA830612-B898-476A-AABA-B32747A22A74}" dt="2022-02-23T09:47:27.355" v="44" actId="20577"/>
          <ac:spMkLst>
            <pc:docMk/>
            <pc:sldMk cId="3456073895" sldId="412"/>
            <ac:spMk id="11" creationId="{F5A97D64-AAB4-4FCE-830E-2F220CB83B05}"/>
          </ac:spMkLst>
        </pc:spChg>
      </pc:sldChg>
      <pc:sldChg chg="add ord">
        <pc:chgData name="Meyer Raphael (PAR-ES)" userId="79615dfe-ed48-4e74-a40f-4f7b034c1c27" providerId="ADAL" clId="{DA830612-B898-476A-AABA-B32747A22A74}" dt="2022-02-23T09:44:21.639" v="24"/>
        <pc:sldMkLst>
          <pc:docMk/>
          <pc:sldMk cId="1058032750" sldId="413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C07F2B2-B7A2-48D8-A4DC-3DCC0139B60C}"/>
    <pc:docChg chg="delSld modSld">
      <pc:chgData name="Meyer Raphael (PAR-ES)" userId="79615dfe-ed48-4e74-a40f-4f7b034c1c27" providerId="ADAL" clId="{6C07F2B2-B7A2-48D8-A4DC-3DCC0139B60C}" dt="2022-03-09T15:32:28.816" v="1" actId="692"/>
      <pc:docMkLst>
        <pc:docMk/>
      </pc:docMkLst>
      <pc:sldChg chg="modSp">
        <pc:chgData name="Meyer Raphael (PAR-ES)" userId="79615dfe-ed48-4e74-a40f-4f7b034c1c27" providerId="ADAL" clId="{6C07F2B2-B7A2-48D8-A4DC-3DCC0139B60C}" dt="2022-03-09T15:32:28.816" v="1" actId="692"/>
        <pc:sldMkLst>
          <pc:docMk/>
          <pc:sldMk cId="3158517815" sldId="412"/>
        </pc:sldMkLst>
        <pc:graphicFrameChg chg="mod">
          <ac:chgData name="Meyer Raphael (PAR-ES)" userId="79615dfe-ed48-4e74-a40f-4f7b034c1c27" providerId="ADAL" clId="{6C07F2B2-B7A2-48D8-A4DC-3DCC0139B60C}" dt="2022-03-09T15:32:28.816" v="1" actId="692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355476115" sldId="413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1680633567" sldId="414"/>
        </pc:sldMkLst>
      </pc:sldChg>
      <pc:sldChg chg="del">
        <pc:chgData name="Meyer Raphael (PAR-ES)" userId="79615dfe-ed48-4e74-a40f-4f7b034c1c27" providerId="ADAL" clId="{6C07F2B2-B7A2-48D8-A4DC-3DCC0139B60C}" dt="2022-03-09T11:58:17.752" v="0" actId="47"/>
        <pc:sldMkLst>
          <pc:docMk/>
          <pc:sldMk cId="3776150389" sldId="415"/>
        </pc:sldMkLst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Weigel Stefan (PAR-EPS)" userId="fd3b2067-2981-4ad8-bf3a-d2e1004e4fa8" providerId="ADAL" clId="{4FF388FD-CE7D-4D20-81C6-85EDC8ACD968}"/>
    <pc:docChg chg="modSld">
      <pc:chgData name="Weigel Stefan (PAR-EPS)" userId="fd3b2067-2981-4ad8-bf3a-d2e1004e4fa8" providerId="ADAL" clId="{4FF388FD-CE7D-4D20-81C6-85EDC8ACD968}" dt="2024-04-24T15:18:11.697" v="12"/>
      <pc:docMkLst>
        <pc:docMk/>
      </pc:docMkLst>
      <pc:sldChg chg="modSp mod setBg">
        <pc:chgData name="Weigel Stefan (PAR-EPS)" userId="fd3b2067-2981-4ad8-bf3a-d2e1004e4fa8" providerId="ADAL" clId="{4FF388FD-CE7D-4D20-81C6-85EDC8ACD968}" dt="2024-04-24T15:18:11.697" v="12"/>
        <pc:sldMkLst>
          <pc:docMk/>
          <pc:sldMk cId="3158517815" sldId="412"/>
        </pc:sldMkLst>
        <pc:spChg chg="mod">
          <ac:chgData name="Weigel Stefan (PAR-EPS)" userId="fd3b2067-2981-4ad8-bf3a-d2e1004e4fa8" providerId="ADAL" clId="{4FF388FD-CE7D-4D20-81C6-85EDC8ACD968}" dt="2024-04-24T15:17:08.482" v="3" actId="554"/>
          <ac:spMkLst>
            <pc:docMk/>
            <pc:sldMk cId="3158517815" sldId="412"/>
            <ac:spMk id="6" creationId="{858CAFD8-585A-425D-B84C-7C6D2EEC02EE}"/>
          </ac:spMkLst>
        </pc:spChg>
        <pc:spChg chg="mod">
          <ac:chgData name="Weigel Stefan (PAR-EPS)" userId="fd3b2067-2981-4ad8-bf3a-d2e1004e4fa8" providerId="ADAL" clId="{4FF388FD-CE7D-4D20-81C6-85EDC8ACD968}" dt="2024-04-24T15:17:08.482" v="3" actId="554"/>
          <ac:spMkLst>
            <pc:docMk/>
            <pc:sldMk cId="3158517815" sldId="412"/>
            <ac:spMk id="7" creationId="{A268B3EA-5C95-4C29-811B-3808A456157E}"/>
          </ac:spMkLst>
        </pc:spChg>
        <pc:graphicFrameChg chg="mod">
          <ac:chgData name="Weigel Stefan (PAR-EPS)" userId="fd3b2067-2981-4ad8-bf3a-d2e1004e4fa8" providerId="ADAL" clId="{4FF388FD-CE7D-4D20-81C6-85EDC8ACD968}" dt="2024-04-24T15:18:03.739" v="11" actId="207"/>
          <ac:graphicFrameMkLst>
            <pc:docMk/>
            <pc:sldMk cId="3158517815" sldId="41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73106D95-0CA4-44B6-A4CA-E1E80630800B}"/>
    <pc:docChg chg="modSld">
      <pc:chgData name="Weigel Stefan (PAR-EPS)" userId="fd3b2067-2981-4ad8-bf3a-d2e1004e4fa8" providerId="ADAL" clId="{73106D95-0CA4-44B6-A4CA-E1E80630800B}" dt="2024-02-28T11:57:24.175" v="16" actId="27918"/>
      <pc:docMkLst>
        <pc:docMk/>
      </pc:docMkLst>
      <pc:sldChg chg="modSp mod">
        <pc:chgData name="Weigel Stefan (PAR-EPS)" userId="fd3b2067-2981-4ad8-bf3a-d2e1004e4fa8" providerId="ADAL" clId="{73106D95-0CA4-44B6-A4CA-E1E80630800B}" dt="2024-02-28T11:57:24.175" v="16" actId="27918"/>
        <pc:sldMkLst>
          <pc:docMk/>
          <pc:sldMk cId="3158517815" sldId="412"/>
        </pc:sldMkLst>
        <pc:spChg chg="mod">
          <ac:chgData name="Weigel Stefan (PAR-EPS)" userId="fd3b2067-2981-4ad8-bf3a-d2e1004e4fa8" providerId="ADAL" clId="{73106D95-0CA4-44B6-A4CA-E1E80630800B}" dt="2024-02-28T11:51:50.921" v="0"/>
          <ac:spMkLst>
            <pc:docMk/>
            <pc:sldMk cId="3158517815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73106D95-0CA4-44B6-A4CA-E1E80630800B}" dt="2024-02-28T11:52:07.355" v="1"/>
          <ac:spMkLst>
            <pc:docMk/>
            <pc:sldMk cId="3158517815" sldId="412"/>
            <ac:spMk id="6" creationId="{858CAFD8-585A-425D-B84C-7C6D2EEC02EE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07162534333307"/>
          <c:y val="8.3190352559608188E-2"/>
          <c:w val="0.80911837859633473"/>
          <c:h val="0.688530573816046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Gotthard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BAE4-454B-A7C0-F7C1FE3C397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#,##0.00</c:formatCode>
                <c:ptCount val="11"/>
                <c:pt idx="0">
                  <c:v>18.405615000000001</c:v>
                </c:pt>
                <c:pt idx="1">
                  <c:v>17.842801000000001</c:v>
                </c:pt>
                <c:pt idx="2">
                  <c:v>16.624806</c:v>
                </c:pt>
                <c:pt idx="3">
                  <c:v>14.843216999999999</c:v>
                </c:pt>
                <c:pt idx="4">
                  <c:v>16.882899999999999</c:v>
                </c:pt>
                <c:pt idx="5">
                  <c:v>17.179015</c:v>
                </c:pt>
                <c:pt idx="6">
                  <c:v>17.63063</c:v>
                </c:pt>
                <c:pt idx="7">
                  <c:v>20.640112999999999</c:v>
                </c:pt>
                <c:pt idx="8">
                  <c:v>22.394874000000002</c:v>
                </c:pt>
                <c:pt idx="9">
                  <c:v>20.828085999999999</c:v>
                </c:pt>
                <c:pt idx="10">
                  <c:v>20.60715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4D-4F6E-B799-3A1AE4992BC1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Simplon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0-BAE4-454B-A7C0-F7C1FE3C397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D$9:$D$19</c:f>
              <c:numCache>
                <c:formatCode>#,##0.00</c:formatCode>
                <c:ptCount val="11"/>
                <c:pt idx="0">
                  <c:v>13.915381999999999</c:v>
                </c:pt>
                <c:pt idx="1">
                  <c:v>15.303774000000001</c:v>
                </c:pt>
                <c:pt idx="2">
                  <c:v>16.884143000000002</c:v>
                </c:pt>
                <c:pt idx="3">
                  <c:v>17.496600999999998</c:v>
                </c:pt>
                <c:pt idx="4">
                  <c:v>16.113721000000002</c:v>
                </c:pt>
                <c:pt idx="5">
                  <c:v>14.807741999999999</c:v>
                </c:pt>
                <c:pt idx="6">
                  <c:v>12.384786999999999</c:v>
                </c:pt>
                <c:pt idx="7">
                  <c:v>13.208899000000001</c:v>
                </c:pt>
                <c:pt idx="8">
                  <c:v>10.993043999999999</c:v>
                </c:pt>
                <c:pt idx="9">
                  <c:v>10.898840999999999</c:v>
                </c:pt>
                <c:pt idx="10">
                  <c:v>10.4277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4D-4F6E-B799-3A1AE4992B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389184"/>
        <c:axId val="137390720"/>
      </c:barChart>
      <c:catAx>
        <c:axId val="13738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/>
            </a:pPr>
            <a:endParaRPr lang="de-DE"/>
          </a:p>
        </c:txPr>
        <c:crossAx val="137390720"/>
        <c:crosses val="autoZero"/>
        <c:auto val="1"/>
        <c:lblAlgn val="ctr"/>
        <c:lblOffset val="100"/>
        <c:noMultiLvlLbl val="0"/>
      </c:catAx>
      <c:valAx>
        <c:axId val="137390720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accent5"/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7389184"/>
        <c:crosses val="autoZero"/>
        <c:crossBetween val="between"/>
        <c:majorUnit val="10"/>
      </c:valAx>
    </c:plotArea>
    <c:legend>
      <c:legendPos val="b"/>
      <c:layout>
        <c:manualLayout>
          <c:xMode val="edge"/>
          <c:yMode val="edge"/>
          <c:x val="0.1175293194367367"/>
          <c:y val="0.85197308809121952"/>
          <c:w val="0.23468576754775944"/>
          <c:h val="5.4723184121952012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054</cdr:x>
      <cdr:y>0</cdr:y>
    </cdr:from>
    <cdr:to>
      <cdr:x>0.14098</cdr:x>
      <cdr:y>0.0563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654317" y="0"/>
          <a:ext cx="86939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net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</a:t>
          </a:r>
          <a:r>
            <a:rPr lang="de-CH" sz="1100" dirty="0" err="1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tonnes</a:t>
          </a:r>
          <a:r>
            <a:rPr lang="de-CH" sz="1100" dirty="0">
              <a:solidFill>
                <a:srgbClr val="444444"/>
              </a:solidFill>
              <a:latin typeface="+mn-lt"/>
              <a:ea typeface="+mn-ea"/>
              <a:cs typeface="Arial" pitchFamily="34" charset="0"/>
            </a:rPr>
            <a:t> m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E"/>
              <a:t>Transalpine rail freight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668804687"/>
              </p:ext>
            </p:extLst>
          </p:nvPr>
        </p:nvGraphicFramePr>
        <p:xfrm>
          <a:off x="833120" y="1881188"/>
          <a:ext cx="10808018" cy="42931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feld 5">
            <a:extLst>
              <a:ext uri="{FF2B5EF4-FFF2-40B4-BE49-F238E27FC236}">
                <a16:creationId xmlns:a16="http://schemas.microsoft.com/office/drawing/2014/main" id="{858CAFD8-585A-425D-B84C-7C6D2EEC02EE}"/>
              </a:ext>
            </a:extLst>
          </p:cNvPr>
          <p:cNvSpPr txBox="1"/>
          <p:nvPr/>
        </p:nvSpPr>
        <p:spPr>
          <a:xfrm>
            <a:off x="1519238" y="6109492"/>
            <a:ext cx="8029575" cy="205629"/>
          </a:xfrm>
          <a:prstGeom prst="rect">
            <a:avLst/>
          </a:prstGeo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ffic volume for all railway undertakings on SBB infrastructure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268B3EA-5C95-4C29-811B-3808A4561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9492"/>
            <a:ext cx="1727767" cy="205629"/>
          </a:xfrm>
          <a:noFill/>
        </p:spPr>
        <p:txBody>
          <a:bodyPr wrap="square" lIns="0" tIns="36000" rIns="0" bIns="0" rtlCol="0" anchor="t" anchorCtr="0">
            <a:spAutoFit/>
          </a:bodyPr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SBB Light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1585178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2FE5DD5-A326-41D9-8FC9-53554AA071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nsalpine rail freight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alpine rail freight.</dc:title>
  <dc:creator>Meyer Raphael (KOM-PGA-VSF)</dc:creator>
  <cp:lastModifiedBy>Stefan Weigel (PAR-EPS)</cp:lastModifiedBy>
  <cp:revision>60</cp:revision>
  <dcterms:created xsi:type="dcterms:W3CDTF">2020-09-30T11:00:09Z</dcterms:created>
  <dcterms:modified xsi:type="dcterms:W3CDTF">2025-02-24T13:0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